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8" r:id="rId3"/>
    <p:sldId id="257" r:id="rId4"/>
    <p:sldId id="277" r:id="rId5"/>
    <p:sldId id="278" r:id="rId6"/>
    <p:sldId id="279" r:id="rId7"/>
    <p:sldId id="282" r:id="rId8"/>
    <p:sldId id="281" r:id="rId9"/>
    <p:sldId id="283" r:id="rId10"/>
    <p:sldId id="284" r:id="rId11"/>
    <p:sldId id="276" r:id="rId12"/>
  </p:sldIdLst>
  <p:sldSz cx="9144000" cy="6858000" type="screen4x3"/>
  <p:notesSz cx="6858000" cy="9947275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F7FF"/>
    <a:srgbClr val="327FBE"/>
    <a:srgbClr val="0091FE"/>
    <a:srgbClr val="C7CDD7"/>
    <a:srgbClr val="E5F6FB"/>
    <a:srgbClr val="D1FBFF"/>
    <a:srgbClr val="000066"/>
    <a:srgbClr val="003366"/>
    <a:srgbClr val="5D9FD5"/>
    <a:srgbClr val="383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589" autoAdjust="0"/>
    <p:restoredTop sz="99645" autoAdjust="0"/>
  </p:normalViewPr>
  <p:slideViewPr>
    <p:cSldViewPr>
      <p:cViewPr>
        <p:scale>
          <a:sx n="70" d="100"/>
          <a:sy n="70" d="100"/>
        </p:scale>
        <p:origin x="-1710" y="-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3306" y="90"/>
      </p:cViewPr>
      <p:guideLst>
        <p:guide orient="horz" pos="3134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91FE"/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Регион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327FBE">
            <a:alpha val="70000"/>
          </a:srgbClr>
        </a:solidFill>
      </dgm:spPr>
      <dgm:t>
        <a:bodyPr/>
        <a:lstStyle/>
        <a:p>
          <a:r>
            <a:rPr lang="ru-RU" sz="1200" b="1" dirty="0" smtClean="0"/>
            <a:t>Муниципальный </a:t>
          </a:r>
          <a:r>
            <a:rPr lang="ru-RU" sz="1200" b="1" dirty="0"/>
            <a:t>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Локальный</a:t>
          </a:r>
          <a:endParaRPr lang="ru-RU" sz="1200" b="1" dirty="0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02517FE-C160-46D3-A333-5EE6421A1D83}" type="presOf" srcId="{CBB2EDB4-08BF-49DB-9282-C363CE23E3D0}" destId="{7099C5AD-A666-455F-9144-31509FAE35FB}" srcOrd="0" destOrd="0" presId="urn:microsoft.com/office/officeart/2005/8/layout/pyramid1"/>
    <dgm:cxn modelId="{1E91953D-64FC-49E4-9FCD-8E3652DD90D8}" type="presOf" srcId="{C055D918-0D48-44D3-9287-CAE1B93EB64A}" destId="{8C222443-D6D5-437E-8A06-7845FF64044F}" srcOrd="0" destOrd="0" presId="urn:microsoft.com/office/officeart/2005/8/layout/pyramid1"/>
    <dgm:cxn modelId="{CCFF9F74-406E-430D-B768-1466ECF073AD}" type="presOf" srcId="{8380A261-4409-4C6B-8A07-0D64C5422F6D}" destId="{EB789FCB-B92C-4A52-BB06-4A95FA62001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8AE74EFD-A6E8-46B7-9655-5213170ECC1D}" type="presOf" srcId="{F014B99B-BC0F-4D51-AA35-03139CBC5BDF}" destId="{47753778-DDCD-4F66-8671-0963E55AC1AB}" srcOrd="0" destOrd="0" presId="urn:microsoft.com/office/officeart/2005/8/layout/pyramid1"/>
    <dgm:cxn modelId="{7F2B2B47-41B2-4082-8052-244848F6849D}" type="presOf" srcId="{8380A261-4409-4C6B-8A07-0D64C5422F6D}" destId="{3405B94A-B110-4EB0-B99D-680A85764021}" srcOrd="0" destOrd="0" presId="urn:microsoft.com/office/officeart/2005/8/layout/pyramid1"/>
    <dgm:cxn modelId="{565AEF58-3861-4B08-B538-01900CBC8628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30F2DD98-E5C4-4CC7-9B4A-3DD85BED6C51}" type="presOf" srcId="{CBB2EDB4-08BF-49DB-9282-C363CE23E3D0}" destId="{8064A9E2-4365-4891-A563-4210D9FE6047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28B9246F-C2D8-44EE-BF66-E2B62B6D31E2}" type="presParOf" srcId="{8C222443-D6D5-437E-8A06-7845FF64044F}" destId="{8E592AC7-B094-488F-86DE-8B46AA43A5F7}" srcOrd="0" destOrd="0" presId="urn:microsoft.com/office/officeart/2005/8/layout/pyramid1"/>
    <dgm:cxn modelId="{F6FC2A26-F1B7-426C-AA8E-976C60C92EFE}" type="presParOf" srcId="{8E592AC7-B094-488F-86DE-8B46AA43A5F7}" destId="{47753778-DDCD-4F66-8671-0963E55AC1AB}" srcOrd="0" destOrd="0" presId="urn:microsoft.com/office/officeart/2005/8/layout/pyramid1"/>
    <dgm:cxn modelId="{6436F5C0-F35A-400A-8BD8-F661A7AF1BA0}" type="presParOf" srcId="{8E592AC7-B094-488F-86DE-8B46AA43A5F7}" destId="{158BBE6D-1C8E-4142-827F-B1B32D20364B}" srcOrd="1" destOrd="0" presId="urn:microsoft.com/office/officeart/2005/8/layout/pyramid1"/>
    <dgm:cxn modelId="{3D87F6FF-F18E-43EF-898F-186122FB7174}" type="presParOf" srcId="{8C222443-D6D5-437E-8A06-7845FF64044F}" destId="{08609C55-E487-4600-AFD0-8994D3888F22}" srcOrd="1" destOrd="0" presId="urn:microsoft.com/office/officeart/2005/8/layout/pyramid1"/>
    <dgm:cxn modelId="{DCF5C8F5-39B5-460F-A1DE-02AEBAC3D761}" type="presParOf" srcId="{08609C55-E487-4600-AFD0-8994D3888F22}" destId="{7099C5AD-A666-455F-9144-31509FAE35FB}" srcOrd="0" destOrd="0" presId="urn:microsoft.com/office/officeart/2005/8/layout/pyramid1"/>
    <dgm:cxn modelId="{D7A677B3-EC88-4357-8C74-4E759F766A7E}" type="presParOf" srcId="{08609C55-E487-4600-AFD0-8994D3888F22}" destId="{8064A9E2-4365-4891-A563-4210D9FE6047}" srcOrd="1" destOrd="0" presId="urn:microsoft.com/office/officeart/2005/8/layout/pyramid1"/>
    <dgm:cxn modelId="{F3A15516-E44B-4D29-A662-A778B60B3D98}" type="presParOf" srcId="{8C222443-D6D5-437E-8A06-7845FF64044F}" destId="{4E66420A-6794-4210-A8DC-A681DFE94B26}" srcOrd="2" destOrd="0" presId="urn:microsoft.com/office/officeart/2005/8/layout/pyramid1"/>
    <dgm:cxn modelId="{FEC50D2A-9E08-44CA-8844-9F1D3E670055}" type="presParOf" srcId="{4E66420A-6794-4210-A8DC-A681DFE94B26}" destId="{3405B94A-B110-4EB0-B99D-680A85764021}" srcOrd="0" destOrd="0" presId="urn:microsoft.com/office/officeart/2005/8/layout/pyramid1"/>
    <dgm:cxn modelId="{041C0F99-351E-4278-A84F-E914D57FFB7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989867" y="0"/>
          <a:ext cx="1989867" cy="1486488"/>
        </a:xfrm>
        <a:prstGeom prst="trapezoid">
          <a:avLst>
            <a:gd name="adj" fmla="val 66932"/>
          </a:avLst>
        </a:prstGeom>
        <a:solidFill>
          <a:srgbClr val="0091F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Регион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989867" y="0"/>
        <a:ext cx="1989867" cy="1486488"/>
      </dsp:txXfrm>
    </dsp:sp>
    <dsp:sp modelId="{7099C5AD-A666-455F-9144-31509FAE35FB}">
      <dsp:nvSpPr>
        <dsp:cNvPr id="0" name=""/>
        <dsp:cNvSpPr/>
      </dsp:nvSpPr>
      <dsp:spPr>
        <a:xfrm>
          <a:off x="987809" y="1500892"/>
          <a:ext cx="3979734" cy="1486488"/>
        </a:xfrm>
        <a:prstGeom prst="trapezoid">
          <a:avLst>
            <a:gd name="adj" fmla="val 66932"/>
          </a:avLst>
        </a:prstGeom>
        <a:solidFill>
          <a:srgbClr val="327FBE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Муниципальный </a:t>
          </a:r>
          <a:r>
            <a:rPr lang="ru-RU" sz="1200" b="1" kern="1200" dirty="0"/>
            <a:t>уровень</a:t>
          </a:r>
        </a:p>
      </dsp:txBody>
      <dsp:txXfrm>
        <a:off x="1684263" y="1500892"/>
        <a:ext cx="2586827" cy="1486488"/>
      </dsp:txXfrm>
    </dsp:sp>
    <dsp:sp modelId="{3405B94A-B110-4EB0-B99D-680A85764021}">
      <dsp:nvSpPr>
        <dsp:cNvPr id="0" name=""/>
        <dsp:cNvSpPr/>
      </dsp:nvSpPr>
      <dsp:spPr>
        <a:xfrm>
          <a:off x="0" y="2958572"/>
          <a:ext cx="5969601" cy="1486488"/>
        </a:xfrm>
        <a:prstGeom prst="trapezoid">
          <a:avLst>
            <a:gd name="adj" fmla="val 66932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Локальный</a:t>
          </a:r>
          <a:endParaRPr lang="ru-RU" sz="1200" b="1" kern="1200" dirty="0"/>
        </a:p>
      </dsp:txBody>
      <dsp:txXfrm>
        <a:off x="1044680" y="2958572"/>
        <a:ext cx="3880241" cy="14864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70946" cy="497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5453" y="0"/>
            <a:ext cx="2970946" cy="497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7764"/>
            <a:ext cx="2970946" cy="49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5453" y="9447764"/>
            <a:ext cx="2970946" cy="49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31564FD-EDA2-4CF7-B7C8-B139DEF369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07614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70946" cy="497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5453" y="0"/>
            <a:ext cx="2970946" cy="497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1388" y="746125"/>
            <a:ext cx="4975225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480" y="4724678"/>
            <a:ext cx="5487041" cy="447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7764"/>
            <a:ext cx="2970946" cy="49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5453" y="9447764"/>
            <a:ext cx="2970946" cy="49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4" tIns="46027" rIns="92054" bIns="4602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3789B97-B078-4C19-A9CB-8DDBE29C8B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5097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Font typeface="Times New Roman" pitchFamily="18" charset="0"/>
              <a:buNone/>
            </a:pPr>
            <a:fld id="{1C042710-FB0E-43DD-BB7C-81552B984D16}" type="slidenum">
              <a:rPr lang="ru-RU" smtClean="0">
                <a:latin typeface="Times New Roman" pitchFamily="18" charset="0"/>
                <a:ea typeface="Microsoft YaHei" pitchFamily="34" charset="-122"/>
              </a:rPr>
              <a:pPr>
                <a:buFont typeface="Times New Roman" pitchFamily="18" charset="0"/>
                <a:buNone/>
              </a:pPr>
              <a:t>4</a:t>
            </a:fld>
            <a:endParaRPr lang="ru-RU" smtClean="0">
              <a:latin typeface="Times New Roman" pitchFamily="18" charset="0"/>
              <a:ea typeface="Microsoft YaHe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78503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Font typeface="Times New Roman" pitchFamily="18" charset="0"/>
              <a:buNone/>
            </a:pPr>
            <a:fld id="{1C042710-FB0E-43DD-BB7C-81552B984D16}" type="slidenum">
              <a:rPr lang="ru-RU" smtClean="0">
                <a:latin typeface="Times New Roman" pitchFamily="18" charset="0"/>
                <a:ea typeface="Microsoft YaHei" pitchFamily="34" charset="-122"/>
              </a:rPr>
              <a:pPr>
                <a:buFont typeface="Times New Roman" pitchFamily="18" charset="0"/>
                <a:buNone/>
              </a:pPr>
              <a:t>7</a:t>
            </a:fld>
            <a:endParaRPr lang="ru-RU" smtClean="0">
              <a:latin typeface="Times New Roman" pitchFamily="18" charset="0"/>
              <a:ea typeface="Microsoft YaHei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78503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82" y="0"/>
            <a:ext cx="778356" cy="1264491"/>
          </a:xfrm>
          <a:prstGeom prst="rect">
            <a:avLst/>
          </a:prstGeom>
        </p:spPr>
      </p:pic>
      <p:pic>
        <p:nvPicPr>
          <p:cNvPr id="5" name="Picture 2" descr="D:\Work\Bachti\!!!ВНУТРЕННИЕ\декабрь\презентация\фотозона размер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649" y="121714"/>
            <a:ext cx="1176868" cy="931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72981" y="760348"/>
            <a:ext cx="3629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>
              <a:defRPr lang="ru-RU" sz="3200" kern="120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r>
              <a:rPr lang="ru-RU" sz="3200" dirty="0" smtClean="0">
                <a:solidFill>
                  <a:srgbClr val="3B4555"/>
                </a:solidFill>
                <a:latin typeface="Futura PT Medium" pitchFamily="34" charset="-52"/>
              </a:rPr>
              <a:t>Заголовок слайда</a:t>
            </a:r>
            <a:endParaRPr lang="ru-RU" sz="3200" dirty="0">
              <a:solidFill>
                <a:srgbClr val="3B4555"/>
              </a:solidFill>
              <a:latin typeface="Futura PT Medium" pitchFamily="34" charset="-52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idx="1" hasCustomPrompt="1"/>
          </p:nvPr>
        </p:nvSpPr>
        <p:spPr>
          <a:xfrm>
            <a:off x="899592" y="1556792"/>
            <a:ext cx="78034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Текст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endParaRPr lang="ru-RU" sz="2400" dirty="0" smtClean="0">
              <a:solidFill>
                <a:srgbClr val="3B4555"/>
              </a:solidFill>
              <a:latin typeface="Futura PT Book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20654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246285" y="1484784"/>
            <a:ext cx="9161363" cy="2308324"/>
          </a:xfrm>
        </p:spPr>
        <p:txBody>
          <a:bodyPr/>
          <a:lstStyle/>
          <a:p>
            <a:r>
              <a:rPr sz="3600" dirty="0" smtClean="0"/>
              <a:t>«</a:t>
            </a:r>
            <a:r>
              <a:rPr lang="ru-RU" sz="3600" i="1" dirty="0"/>
              <a:t>Оптимизация процесса предоставления массажа </a:t>
            </a:r>
            <a:r>
              <a:rPr lang="ru-RU" sz="3600" i="1" dirty="0" smtClean="0"/>
              <a:t/>
            </a:r>
            <a:br>
              <a:rPr lang="ru-RU" sz="3600" i="1" dirty="0" smtClean="0"/>
            </a:br>
            <a:r>
              <a:rPr lang="ru-RU" sz="3600" i="1" dirty="0" smtClean="0"/>
              <a:t>для </a:t>
            </a:r>
            <a:r>
              <a:rPr lang="ru-RU" sz="3600" i="1" dirty="0"/>
              <a:t>детей с ОВЗ</a:t>
            </a:r>
            <a:r>
              <a:rPr sz="3600" dirty="0" smtClean="0"/>
              <a:t>»</a:t>
            </a:r>
            <a:br>
              <a:rPr sz="3600" dirty="0" smtClean="0"/>
            </a:br>
            <a:endParaRPr sz="3600" dirty="0">
              <a:latin typeface="David" pitchFamily="34" charset="-79"/>
              <a:cs typeface="David" pitchFamily="34" charset="-79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747" y="117765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416" y="169814"/>
            <a:ext cx="723900" cy="854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7453320"/>
              </p:ext>
            </p:extLst>
          </p:nvPr>
        </p:nvGraphicFramePr>
        <p:xfrm>
          <a:off x="251520" y="2008115"/>
          <a:ext cx="8501122" cy="312009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32780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6" charset="0"/>
                          <a:cs typeface="Times New Roman" pitchFamily="16" charset="0"/>
                        </a:rPr>
                        <a:t>Не предоставлены оригиналы документов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одителями (законными представителями) о офтальмологическом диагнозе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зработка памятки для родителей  о том, оригиналы каких документов необходимо предоставить</a:t>
                      </a: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" name="Рисунок 9" descr="C:\Users\User\AppData\Local\Microsoft\Windows\Temporary Internet Files\Content.Word\IMG-20191029-WA0023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63688" y="2859858"/>
            <a:ext cx="2048492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 descr="C:\Users\User\AppData\Local\Microsoft\Windows\Temporary Internet Files\Content.Word\IMG_20191029_145849.jpg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54255" y="2751846"/>
            <a:ext cx="1944216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8851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/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манда 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699792" y="960729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Алмаева</a:t>
            </a:r>
            <a:r>
              <a:rPr lang="ru-RU" sz="1400" b="1" dirty="0" smtClean="0">
                <a:solidFill>
                  <a:srgbClr val="002060"/>
                </a:solidFill>
              </a:rPr>
              <a:t> Елена Валерьевна- директор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00164" y="2332455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Кострова</a:t>
            </a:r>
            <a:r>
              <a:rPr lang="ru-RU" sz="1400" b="1" dirty="0" smtClean="0">
                <a:solidFill>
                  <a:srgbClr val="002060"/>
                </a:solidFill>
              </a:rPr>
              <a:t> Елена Викторовна- медсестра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702795" y="4115701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Иванова Ксения Владимировна–воспитатель 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547495" y="225809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Погосян </a:t>
            </a:r>
            <a:r>
              <a:rPr lang="ru-RU" sz="1400" b="1" dirty="0" err="1" smtClean="0">
                <a:solidFill>
                  <a:srgbClr val="002060"/>
                </a:solidFill>
              </a:rPr>
              <a:t>Гаяне</a:t>
            </a:r>
            <a:r>
              <a:rPr lang="ru-RU" sz="1400" b="1" dirty="0" smtClean="0">
                <a:solidFill>
                  <a:srgbClr val="002060"/>
                </a:solidFill>
              </a:rPr>
              <a:t> Григорьевна – медсестра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761416" y="5209659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Кондратьева Нина Юрьевна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7410" name="Picture 2" descr="D:\Инфо\33 школа сад\Булатова К.К\ФОТО сотрудники к ЮБИЛЕЮ\img158152770481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565" y="2080119"/>
            <a:ext cx="702430" cy="11274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411" name="Picture 3" descr="D:\Инфо\33 школа сад\Булатова К.К\ФОТО сотрудники к ЮБИЛЕЮ\WhatsApp Image 2021-10-29 at 08.52.11.jpe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0" t="28027" r="14603" b="22611"/>
          <a:stretch/>
        </p:blipFill>
        <p:spPr bwMode="auto">
          <a:xfrm>
            <a:off x="179512" y="2211334"/>
            <a:ext cx="1018319" cy="10836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412" name="Picture 4" descr="D:\Инфо\33 школа сад\Булатова К.К\ФОТО сотрудники к ЮБИЛЕЮ\WhatsApp Image 2021-11-02 at 11.59.5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4786" y="5209659"/>
            <a:ext cx="1050300" cy="9674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413" name="Picture 5" descr="D:\Инфо\33 школа сад\Булатова К.К\ФОТО сотрудники к ЮБИЛЕЮ\WhatsApp Image 2021-10-28 at 15.00.58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088" y="3789040"/>
            <a:ext cx="958915" cy="11622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414" name="Picture 6" descr="D:\Инфо\33 школа сад\Булатова К.К\ФОТО сотрудники к ЮБИЛЕЮ\WhatsApp Image 2021-10-28 at 11.08.44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377" y="836712"/>
            <a:ext cx="784711" cy="10836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9" name="Picture 2" descr="D:\Сайт\Эмблема\3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55" y="35490"/>
            <a:ext cx="801222" cy="801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47161" y="116633"/>
            <a:ext cx="3497047" cy="669162"/>
          </a:xfrm>
        </p:spPr>
        <p:txBody>
          <a:bodyPr/>
          <a:lstStyle/>
          <a:p>
            <a:r>
              <a:rPr lang="ru-RU" dirty="0" smtClean="0"/>
              <a:t>Паспорт </a:t>
            </a:r>
            <a:r>
              <a:rPr lang="ru-RU" dirty="0"/>
              <a:t>проекта </a:t>
            </a:r>
            <a:br>
              <a:rPr lang="ru-RU" dirty="0"/>
            </a:br>
            <a:endParaRPr lang="ru-RU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38554" y="4752280"/>
            <a:ext cx="405319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2060"/>
              </a:solidFill>
            </a:endParaRPr>
          </a:p>
          <a:p>
            <a:endParaRPr lang="ru-RU" sz="800" dirty="0">
              <a:ea typeface="Calibri"/>
              <a:cs typeface="Calibri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effectLst/>
              </a:rPr>
              <a:t> </a:t>
            </a:r>
            <a:endParaRPr lang="ru-RU" sz="800" dirty="0">
              <a:ea typeface="Calibri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55" y="35490"/>
            <a:ext cx="801222" cy="801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17563" y="1600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797050" y="1600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78" t="25560" r="18498" b="7642"/>
          <a:stretch/>
        </p:blipFill>
        <p:spPr bwMode="auto">
          <a:xfrm>
            <a:off x="40356" y="1340768"/>
            <a:ext cx="8996140" cy="533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7952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714374" y="2071688"/>
            <a:ext cx="1785923" cy="142875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Директор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1000" dirty="0" smtClean="0"/>
          </a:p>
          <a:p>
            <a:pPr algn="ctr">
              <a:defRPr/>
            </a:pPr>
            <a:r>
              <a:rPr lang="ru-RU" sz="1000" dirty="0" smtClean="0"/>
              <a:t>Зачисление ребенка в МКОУ</a:t>
            </a: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  <a:latin typeface="+mj-lt"/>
              </a:rPr>
              <a:t>(10-15 мин.) </a:t>
            </a:r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893211" y="2071688"/>
            <a:ext cx="1714501" cy="135731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Уточнение информации  </a:t>
            </a:r>
            <a:r>
              <a:rPr lang="ru-RU" sz="1000" dirty="0" smtClean="0">
                <a:cs typeface="Times New Roman" panose="02020603050405020304" pitchFamily="18" charset="0"/>
              </a:rPr>
              <a:t>по офтальмологическому диагнозу ребенка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5-10 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71500" y="3786188"/>
            <a:ext cx="1571625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/>
              <a:t>Составление графика проведения массажа по группам и классам</a:t>
            </a: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200-240 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74545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072066" y="2105818"/>
            <a:ext cx="1823636" cy="13231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Обращение в поликлинику за направлениями на массаж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20-24 часа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85750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2641592" y="1775185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947035" y="1775185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103" name="Заголовок 1"/>
          <p:cNvSpPr>
            <a:spLocks noGrp="1"/>
          </p:cNvSpPr>
          <p:nvPr>
            <p:ph type="title"/>
          </p:nvPr>
        </p:nvSpPr>
        <p:spPr>
          <a:xfrm>
            <a:off x="-593179" y="300927"/>
            <a:ext cx="10044608" cy="1071570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800" i="1" dirty="0"/>
              <a:t>«Оптимизация процесса предоставления  </a:t>
            </a:r>
            <a:r>
              <a:rPr lang="ru-RU" sz="1800" i="1" dirty="0" smtClean="0"/>
              <a:t/>
            </a:r>
            <a:br>
              <a:rPr lang="ru-RU" sz="1800" i="1" dirty="0" smtClean="0"/>
            </a:br>
            <a:r>
              <a:rPr lang="ru-RU" sz="1800" i="1" dirty="0" smtClean="0"/>
              <a:t>массажа </a:t>
            </a:r>
            <a:r>
              <a:rPr lang="ru-RU" sz="1800" i="1" dirty="0"/>
              <a:t>для детей с ОВЗ»</a:t>
            </a:r>
            <a:endParaRPr lang="ru-RU" sz="1800" dirty="0"/>
          </a:p>
        </p:txBody>
      </p:sp>
      <p:sp>
        <p:nvSpPr>
          <p:cNvPr id="23" name="Стрелка вправо 22"/>
          <p:cNvSpPr/>
          <p:nvPr/>
        </p:nvSpPr>
        <p:spPr>
          <a:xfrm>
            <a:off x="2541588" y="2642394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14375" y="3071813"/>
            <a:ext cx="15001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000375" y="3071813"/>
            <a:ext cx="14287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4689418" y="2661443"/>
            <a:ext cx="257617" cy="17780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71500" y="4786313"/>
            <a:ext cx="157162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786050" y="3714750"/>
            <a:ext cx="1928825" cy="1357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</a:p>
          <a:p>
            <a:pPr algn="ctr">
              <a:defRPr/>
            </a:pP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Согласование графика с расписанием занятий обучающихся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</a:t>
            </a:r>
            <a:r>
              <a:rPr lang="ru-RU" sz="900" dirty="0" smtClean="0">
                <a:solidFill>
                  <a:schemeClr val="tx1"/>
                </a:solidFill>
              </a:rPr>
              <a:t>(100-120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7025468" y="264239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857500" y="4714875"/>
            <a:ext cx="18573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2355842" y="3500438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6</a:t>
            </a:r>
            <a:endParaRPr lang="ru-RU" sz="9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-1217113" y="5203935"/>
            <a:ext cx="4500563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 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1720-2040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5095068" y="2287588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21" name="TextBox 66"/>
          <p:cNvSpPr txBox="1">
            <a:spLocks noChangeArrowheads="1"/>
          </p:cNvSpPr>
          <p:nvPr/>
        </p:nvSpPr>
        <p:spPr bwMode="auto">
          <a:xfrm>
            <a:off x="3033510" y="5094476"/>
            <a:ext cx="6110489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10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уровневое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ение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процесса уточнения данных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счет удаленности поликлиники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 в учебном расписании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  <a:r>
              <a:rPr lang="ru-RU" sz="11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едиатра на </a:t>
            </a:r>
            <a:r>
              <a: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ем месте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е дет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latin typeface="Times New Roman" pitchFamily="18" charset="0"/>
                <a:cs typeface="Times New Roman" pitchFamily="18" charset="0"/>
              </a:rPr>
              <a:t>Не предоставлены оригиналы документов родителями (законными представителями) о офтальмологическом диагнозе</a:t>
            </a:r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571500" y="4000500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714375" y="2286000"/>
            <a:ext cx="15113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000375" y="228600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5109764" y="2973343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2857500" y="4000500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ятно 1 49"/>
          <p:cNvSpPr/>
          <p:nvPr/>
        </p:nvSpPr>
        <p:spPr>
          <a:xfrm>
            <a:off x="4143375" y="3357563"/>
            <a:ext cx="642938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464359" y="2135547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55" name="Пятно 1 54"/>
          <p:cNvSpPr/>
          <p:nvPr/>
        </p:nvSpPr>
        <p:spPr>
          <a:xfrm>
            <a:off x="4214813" y="1857375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433358" y="4680778"/>
            <a:ext cx="428625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3643313" y="1571625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135798" y="3714752"/>
            <a:ext cx="222264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114" name="Пятно 1 113"/>
          <p:cNvSpPr/>
          <p:nvPr/>
        </p:nvSpPr>
        <p:spPr>
          <a:xfrm>
            <a:off x="2936712" y="5072074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9" name="Пятно 1 118"/>
          <p:cNvSpPr/>
          <p:nvPr/>
        </p:nvSpPr>
        <p:spPr>
          <a:xfrm>
            <a:off x="2961447" y="5357829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0" name="Пятно 1 119"/>
          <p:cNvSpPr/>
          <p:nvPr/>
        </p:nvSpPr>
        <p:spPr>
          <a:xfrm>
            <a:off x="2956329" y="5715016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3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6395640" y="1885153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6" name="Стрелка вправо 65"/>
          <p:cNvSpPr/>
          <p:nvPr/>
        </p:nvSpPr>
        <p:spPr>
          <a:xfrm>
            <a:off x="285749" y="4286250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Пятно 1 66"/>
          <p:cNvSpPr/>
          <p:nvPr/>
        </p:nvSpPr>
        <p:spPr>
          <a:xfrm>
            <a:off x="2968910" y="6047768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4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pic>
        <p:nvPicPr>
          <p:cNvPr id="42" name="Picture 2" descr="D:\Сайт\Эмблема\3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55" y="35490"/>
            <a:ext cx="801222" cy="801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Прямоугольник 52"/>
          <p:cNvSpPr/>
          <p:nvPr/>
        </p:nvSpPr>
        <p:spPr>
          <a:xfrm>
            <a:off x="7297314" y="2105818"/>
            <a:ext cx="1667174" cy="13231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 smtClean="0">
                <a:cs typeface="Times New Roman" panose="02020603050405020304" pitchFamily="18" charset="0"/>
              </a:rPr>
              <a:t>Сбор направлений на массаж</a:t>
            </a:r>
            <a:endParaRPr lang="ru-RU" sz="1050" dirty="0"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80 -200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025468" y="1824831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314393" y="2289176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5096643" y="3750462"/>
            <a:ext cx="1928825" cy="1357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</a:p>
          <a:p>
            <a:pPr algn="ctr">
              <a:defRPr/>
            </a:pP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Предоставление массажа</a:t>
            </a:r>
            <a:endParaRPr lang="ru-RU" sz="10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15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1" name="Стрелка вправо 60"/>
          <p:cNvSpPr/>
          <p:nvPr/>
        </p:nvSpPr>
        <p:spPr>
          <a:xfrm>
            <a:off x="2327305" y="4331493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Стрелка вправо 61"/>
          <p:cNvSpPr/>
          <p:nvPr/>
        </p:nvSpPr>
        <p:spPr>
          <a:xfrm>
            <a:off x="4750579" y="4321905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4913697" y="3423310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7</a:t>
            </a:r>
            <a:endParaRPr lang="ru-RU" sz="900" b="1" dirty="0"/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5122716" y="3970929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5095068" y="4786313"/>
            <a:ext cx="18573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7314393" y="2974931"/>
            <a:ext cx="1650095" cy="78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ятно 1 69"/>
          <p:cNvSpPr/>
          <p:nvPr/>
        </p:nvSpPr>
        <p:spPr>
          <a:xfrm>
            <a:off x="2950547" y="6318895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</a:rPr>
              <a:t>5</a:t>
            </a:r>
            <a:endParaRPr lang="ru-RU" sz="800" b="1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60" name="Пятно 1 59"/>
          <p:cNvSpPr/>
          <p:nvPr/>
        </p:nvSpPr>
        <p:spPr>
          <a:xfrm>
            <a:off x="2953438" y="6604645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</a:rPr>
              <a:t>6</a:t>
            </a:r>
            <a:endParaRPr lang="ru-RU" sz="800" b="1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71" name="Пятно 1 70"/>
          <p:cNvSpPr/>
          <p:nvPr/>
        </p:nvSpPr>
        <p:spPr>
          <a:xfrm>
            <a:off x="8570845" y="2693591"/>
            <a:ext cx="393643" cy="32940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2" name="Пятно 1 71"/>
          <p:cNvSpPr/>
          <p:nvPr/>
        </p:nvSpPr>
        <p:spPr>
          <a:xfrm>
            <a:off x="7228051" y="3091232"/>
            <a:ext cx="454804" cy="40653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</a:p>
          <a:p>
            <a:pPr algn="ctr">
              <a:defRPr/>
            </a:pP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3" name="Пятно 1 72"/>
          <p:cNvSpPr/>
          <p:nvPr/>
        </p:nvSpPr>
        <p:spPr>
          <a:xfrm>
            <a:off x="4247292" y="4665851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4" name="Пятно 1 73"/>
          <p:cNvSpPr/>
          <p:nvPr/>
        </p:nvSpPr>
        <p:spPr>
          <a:xfrm>
            <a:off x="6480029" y="4504626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5" name="Пятно 1 74"/>
          <p:cNvSpPr/>
          <p:nvPr/>
        </p:nvSpPr>
        <p:spPr>
          <a:xfrm>
            <a:off x="4964862" y="4427378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71802" y="1000108"/>
            <a:ext cx="3537570" cy="584775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142976" y="357166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30790631"/>
              </p:ext>
            </p:extLst>
          </p:nvPr>
        </p:nvGraphicFramePr>
        <p:xfrm>
          <a:off x="214282" y="2071678"/>
          <a:ext cx="5969602" cy="44594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5364163" y="5157788"/>
            <a:ext cx="309403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Проблемы, решение которых требуется на </a:t>
            </a:r>
            <a:r>
              <a:rPr lang="ru-RU" sz="1400" dirty="0" smtClean="0">
                <a:solidFill>
                  <a:schemeClr val="tx1"/>
                </a:solidFill>
              </a:rPr>
              <a:t>локальном и региональном </a:t>
            </a:r>
            <a:r>
              <a:rPr lang="ru-RU" sz="1400" dirty="0">
                <a:solidFill>
                  <a:schemeClr val="tx1"/>
                </a:solidFill>
              </a:rPr>
              <a:t>уровне </a:t>
            </a:r>
          </a:p>
        </p:txBody>
      </p:sp>
      <p:sp>
        <p:nvSpPr>
          <p:cNvPr id="101" name="Пятно 1 60"/>
          <p:cNvSpPr/>
          <p:nvPr/>
        </p:nvSpPr>
        <p:spPr>
          <a:xfrm>
            <a:off x="1403648" y="5295106"/>
            <a:ext cx="720502" cy="43973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" name="Пятно 1 60"/>
          <p:cNvSpPr/>
          <p:nvPr/>
        </p:nvSpPr>
        <p:spPr>
          <a:xfrm>
            <a:off x="1763899" y="5940433"/>
            <a:ext cx="591329" cy="38257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6" name="Пятно 1 60"/>
          <p:cNvSpPr/>
          <p:nvPr/>
        </p:nvSpPr>
        <p:spPr>
          <a:xfrm>
            <a:off x="3836928" y="5252972"/>
            <a:ext cx="714380" cy="52400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" name="Пятно 1 60"/>
          <p:cNvSpPr/>
          <p:nvPr/>
        </p:nvSpPr>
        <p:spPr>
          <a:xfrm>
            <a:off x="3214678" y="4572008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Пятно 1 60"/>
          <p:cNvSpPr/>
          <p:nvPr/>
        </p:nvSpPr>
        <p:spPr>
          <a:xfrm>
            <a:off x="3214678" y="5929330"/>
            <a:ext cx="693688" cy="52400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3" name="TextBox 66"/>
          <p:cNvSpPr txBox="1">
            <a:spLocks noChangeArrowheads="1"/>
          </p:cNvSpPr>
          <p:nvPr/>
        </p:nvSpPr>
        <p:spPr bwMode="auto">
          <a:xfrm>
            <a:off x="4078416" y="1931550"/>
            <a:ext cx="5035555" cy="300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1400" dirty="0" err="1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уровневое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ение (дошкольное, начальное общее)</a:t>
            </a:r>
            <a:endParaRPr lang="ru-RU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  <a:buAutoNum type="arabicPeriod" startAt="2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уточнения данных 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счет удаленности поликлиники</a:t>
            </a:r>
          </a:p>
          <a:p>
            <a:pPr marL="342900" indent="-342900">
              <a:lnSpc>
                <a:spcPct val="150000"/>
              </a:lnSpc>
              <a:buFontTx/>
              <a:buAutoNum type="arabicPeriod" startAt="2"/>
            </a:pPr>
            <a:r>
              <a:rPr lang="ru-RU" sz="1400" dirty="0">
                <a:latin typeface="Times New Roman" pitchFamily="16" charset="0"/>
                <a:cs typeface="Times New Roman" pitchFamily="16" charset="0"/>
              </a:rPr>
              <a:t>Не предоставлены оригиналы </a:t>
            </a:r>
            <a:r>
              <a:rPr lang="ru-RU" sz="1400" dirty="0" smtClean="0">
                <a:latin typeface="Times New Roman" pitchFamily="16" charset="0"/>
                <a:cs typeface="Times New Roman" pitchFamily="16" charset="0"/>
              </a:rPr>
              <a:t>документов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родителями (законными представителями) о офтальмологическом диагнозе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Изменение в учебном расписании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Отсутствие педиатра  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рабочем месте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Заболевание детей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26281" y="2492896"/>
            <a:ext cx="1785938" cy="357188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15" name="Пятно 1 60"/>
          <p:cNvSpPr/>
          <p:nvPr/>
        </p:nvSpPr>
        <p:spPr>
          <a:xfrm>
            <a:off x="4644007" y="5776978"/>
            <a:ext cx="720155" cy="501799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6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Пятно 1 60"/>
          <p:cNvSpPr/>
          <p:nvPr/>
        </p:nvSpPr>
        <p:spPr>
          <a:xfrm>
            <a:off x="2355228" y="5155620"/>
            <a:ext cx="689969" cy="57922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6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3028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99950" y="61386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rgbClr val="C00000"/>
                </a:solidFill>
              </a:rPr>
              <a:t>Анализ проблем процесса </a:t>
            </a:r>
            <a:br>
              <a:rPr lang="ru-RU" sz="2000" b="1" dirty="0" smtClean="0">
                <a:solidFill>
                  <a:srgbClr val="C00000"/>
                </a:solidFill>
              </a:rPr>
            </a:b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108397" y="1885656"/>
            <a:ext cx="3367202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2900" indent="-342900" algn="just">
              <a:lnSpc>
                <a:spcPct val="150000"/>
              </a:lnSpc>
            </a:pPr>
            <a:r>
              <a:rPr lang="ru-RU" sz="1100" b="1" dirty="0" err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уровневое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ение (</a:t>
            </a: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школьное, начальное общее)</a:t>
            </a: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4067944" y="1911277"/>
            <a:ext cx="311195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бить время осуществления массажа на первую и вторую половину дн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8260337" y="20606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0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500429" y="2085329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0" y="2569276"/>
            <a:ext cx="3500429" cy="571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2900" indent="-342900">
              <a:lnSpc>
                <a:spcPct val="150000"/>
              </a:lnSpc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сть процесса уточнения данных за счет удаленности поликлиники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475598" y="2570545"/>
            <a:ext cx="4446819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altLang="ru-RU" sz="1200" b="1" dirty="0">
                <a:latin typeface="Times New Roman" pitchFamily="18" charset="0"/>
                <a:cs typeface="Times New Roman" pitchFamily="18" charset="0"/>
              </a:rPr>
              <a:t>Заполнение форм по образцам на сайте </a:t>
            </a:r>
            <a:r>
              <a:rPr lang="ru-RU" altLang="ru-RU" sz="1200" b="1" dirty="0" smtClean="0">
                <a:latin typeface="Times New Roman" pitchFamily="18" charset="0"/>
                <a:cs typeface="Times New Roman" pitchFamily="18" charset="0"/>
              </a:rPr>
              <a:t>поликлинике </a:t>
            </a:r>
            <a:r>
              <a:rPr lang="ru-RU" altLang="ru-RU" sz="1200" b="1" dirty="0">
                <a:latin typeface="Times New Roman" pitchFamily="18" charset="0"/>
                <a:cs typeface="Times New Roman" pitchFamily="18" charset="0"/>
              </a:rPr>
              <a:t>в удобное время и направление заполненных форм на электронный адрес </a:t>
            </a:r>
            <a:r>
              <a:rPr lang="ru-RU" altLang="ru-RU" sz="1200" b="1" dirty="0" smtClean="0">
                <a:latin typeface="Times New Roman" pitchFamily="18" charset="0"/>
                <a:cs typeface="Times New Roman" pitchFamily="18" charset="0"/>
              </a:rPr>
              <a:t>поликлиники</a:t>
            </a:r>
            <a:endParaRPr lang="ru-RU" alt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8249225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90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78605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835105" y="2855252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-581288" y="3538109"/>
            <a:ext cx="3478213" cy="31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342900" indent="-342900">
              <a:lnSpc>
                <a:spcPct val="150000"/>
              </a:lnSpc>
            </a:pPr>
            <a:r>
              <a:rPr lang="ru-RU" sz="11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 Изменение учебного </a:t>
            </a: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исания 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8282562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1521" y="3571876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883772" y="3571876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831467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45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4546883" y="4398209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905144" y="428946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875067" y="3498436"/>
            <a:ext cx="3000396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hangingPunct="0">
              <a:lnSpc>
                <a:spcPct val="93000"/>
              </a:lnSpc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т разрешенного решения</a:t>
            </a: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 </a:t>
            </a:r>
            <a:endParaRPr lang="ru-RU" sz="1200" b="1" dirty="0" smtClean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0" name="Стрелка: вправо 3"/>
          <p:cNvSpPr/>
          <p:nvPr/>
        </p:nvSpPr>
        <p:spPr>
          <a:xfrm>
            <a:off x="7835106" y="205742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120615" y="494116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33872" y="5733256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-58496" y="4225462"/>
            <a:ext cx="478000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b="1" dirty="0">
                <a:solidFill>
                  <a:srgbClr val="FF0000"/>
                </a:solidFill>
                <a:latin typeface="Times New Roman" pitchFamily="16" charset="0"/>
                <a:cs typeface="Times New Roman" pitchFamily="16" charset="0"/>
              </a:rPr>
              <a:t>Не предоставлены оригиналы документов</a:t>
            </a:r>
            <a:r>
              <a:rPr lang="ru-RU" sz="11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родителями (законными представителями) о офтальмологическом диагноз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16696" y="4273946"/>
            <a:ext cx="3218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dirty="0">
                <a:latin typeface="Times New Roman" pitchFamily="16" charset="0"/>
                <a:cs typeface="Times New Roman" pitchFamily="16" charset="0"/>
              </a:rPr>
              <a:t>В электронном виде прикрепить копии  необходимых документов</a:t>
            </a:r>
            <a:endParaRPr lang="ru-RU" sz="11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-54896" y="5009423"/>
            <a:ext cx="478000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b="1" dirty="0">
                <a:solidFill>
                  <a:srgbClr val="FF0000"/>
                </a:solidFill>
                <a:latin typeface="Times New Roman" pitchFamily="16" charset="0"/>
                <a:cs typeface="Times New Roman" pitchFamily="16" charset="0"/>
              </a:rPr>
              <a:t>Не предоставлены оригиналы документов</a:t>
            </a:r>
            <a:r>
              <a:rPr lang="ru-RU" sz="11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родителями (законными представителями) о офтальмологическом диагнозе</a:t>
            </a:r>
          </a:p>
        </p:txBody>
      </p:sp>
      <p:sp>
        <p:nvSpPr>
          <p:cNvPr id="37" name="Стрелка: вправо 3"/>
          <p:cNvSpPr/>
          <p:nvPr/>
        </p:nvSpPr>
        <p:spPr>
          <a:xfrm>
            <a:off x="4567117" y="5149130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4741742" y="4969142"/>
            <a:ext cx="30003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Разработка памятки для родителей  о том, оригиналы каких документов необходимо предоставить</a:t>
            </a:r>
          </a:p>
        </p:txBody>
      </p:sp>
      <p:sp>
        <p:nvSpPr>
          <p:cNvPr id="42" name="Стрелка: вправо 3"/>
          <p:cNvSpPr/>
          <p:nvPr/>
        </p:nvSpPr>
        <p:spPr>
          <a:xfrm>
            <a:off x="7933208" y="509201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8314669" y="5068205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45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904937" y="5867693"/>
            <a:ext cx="4780004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0" b="1" dirty="0" smtClean="0">
                <a:solidFill>
                  <a:srgbClr val="FF0000"/>
                </a:solidFill>
                <a:latin typeface="Times New Roman" pitchFamily="16" charset="0"/>
                <a:cs typeface="Times New Roman" pitchFamily="16" charset="0"/>
              </a:rPr>
              <a:t>Отсутствие педиатра на рабочем месте</a:t>
            </a:r>
            <a:endParaRPr lang="ru-RU" sz="11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Стрелка: вправо 3"/>
          <p:cNvSpPr/>
          <p:nvPr/>
        </p:nvSpPr>
        <p:spPr>
          <a:xfrm>
            <a:off x="4569316" y="5884402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4904748" y="5749880"/>
            <a:ext cx="300039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Информирование через мессенджеры</a:t>
            </a:r>
          </a:p>
        </p:txBody>
      </p:sp>
      <p:sp>
        <p:nvSpPr>
          <p:cNvPr id="56" name="Стрелка: вправо 3"/>
          <p:cNvSpPr/>
          <p:nvPr/>
        </p:nvSpPr>
        <p:spPr>
          <a:xfrm>
            <a:off x="7933208" y="594121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7" name="TextBox 41"/>
          <p:cNvSpPr txBox="1">
            <a:spLocks noChangeArrowheads="1"/>
          </p:cNvSpPr>
          <p:nvPr/>
        </p:nvSpPr>
        <p:spPr bwMode="auto">
          <a:xfrm>
            <a:off x="8327927" y="5917405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6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61" name="TextBox 41"/>
          <p:cNvSpPr txBox="1">
            <a:spLocks noChangeArrowheads="1"/>
          </p:cNvSpPr>
          <p:nvPr/>
        </p:nvSpPr>
        <p:spPr bwMode="auto">
          <a:xfrm>
            <a:off x="8128508" y="6466587"/>
            <a:ext cx="946541" cy="291491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600" b="1" dirty="0" smtClean="0">
                <a:solidFill>
                  <a:schemeClr val="tx2"/>
                </a:solidFill>
              </a:rPr>
              <a:t>1150</a:t>
            </a:r>
            <a:endParaRPr lang="ru-RU" altLang="ru-RU" sz="1600" b="1" dirty="0">
              <a:solidFill>
                <a:schemeClr val="tx2"/>
              </a:solidFill>
            </a:endParaRPr>
          </a:p>
        </p:txBody>
      </p:sp>
      <p:pic>
        <p:nvPicPr>
          <p:cNvPr id="62" name="Picture 4" descr="D:\Инфо\33 школа сад\Булатова К.К\Лин-проекты\фото ЛИН-ПРОЕКТОВ\IMG-20210125-WA002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003" y="110782"/>
            <a:ext cx="1659990" cy="1244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D:\Инфо\33 школа сад\Булатова К.К\Лин-проекты\фото ЛИН-ПРОЕКТОВ\IMG-20210125-WA002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922" y="165076"/>
            <a:ext cx="1541216" cy="115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5729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714374" y="2071688"/>
            <a:ext cx="1785923" cy="1428750"/>
          </a:xfrm>
          <a:prstGeom prst="rect">
            <a:avLst/>
          </a:prstGeom>
          <a:solidFill>
            <a:srgbClr val="AFF7FF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Директор</a:t>
            </a:r>
            <a:endParaRPr lang="ru-RU" sz="11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1000" dirty="0" smtClean="0"/>
          </a:p>
          <a:p>
            <a:pPr algn="ctr">
              <a:defRPr/>
            </a:pPr>
            <a:r>
              <a:rPr lang="ru-RU" sz="1000" dirty="0" smtClean="0"/>
              <a:t>Зачисление ребенка в МКОУ</a:t>
            </a: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9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  <a:latin typeface="+mj-lt"/>
              </a:rPr>
              <a:t>(10-15 мин.) </a:t>
            </a:r>
            <a:endParaRPr lang="ru-RU" sz="9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893211" y="2071688"/>
            <a:ext cx="1714501" cy="135731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Уточнение информации  </a:t>
            </a:r>
            <a:r>
              <a:rPr lang="ru-RU" sz="1000" dirty="0" smtClean="0">
                <a:cs typeface="Times New Roman" panose="02020603050405020304" pitchFamily="18" charset="0"/>
              </a:rPr>
              <a:t>по офтальмологическому диагнозу ребенка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3-7 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71500" y="3786188"/>
            <a:ext cx="1571625" cy="121443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/>
              <a:t>Составление графика проведения массажа по группам и классам</a:t>
            </a: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20-180 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74545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5072066" y="2105818"/>
            <a:ext cx="1823636" cy="132318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Обращение в поликлинику за направлениями на массаж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(10-12 часа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85750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5</a:t>
            </a:r>
            <a:endParaRPr lang="ru-RU" sz="9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2641592" y="1775185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947035" y="1775185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103" name="Заголовок 1"/>
          <p:cNvSpPr>
            <a:spLocks noGrp="1"/>
          </p:cNvSpPr>
          <p:nvPr>
            <p:ph type="title"/>
          </p:nvPr>
        </p:nvSpPr>
        <p:spPr>
          <a:xfrm>
            <a:off x="-593179" y="300927"/>
            <a:ext cx="10044608" cy="1071570"/>
          </a:xfrm>
        </p:spPr>
        <p:txBody>
          <a:bodyPr>
            <a:normAutofit/>
          </a:bodyPr>
          <a:lstStyle/>
          <a:p>
            <a: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sz="1800" i="1" dirty="0"/>
              <a:t>«Оптимизация процесса предоставления  </a:t>
            </a:r>
            <a:r>
              <a:rPr lang="ru-RU" sz="1800" i="1" dirty="0" smtClean="0"/>
              <a:t/>
            </a:r>
            <a:br>
              <a:rPr lang="ru-RU" sz="1800" i="1" dirty="0" smtClean="0"/>
            </a:br>
            <a:r>
              <a:rPr lang="ru-RU" sz="1800" i="1" dirty="0" smtClean="0"/>
              <a:t>массажа </a:t>
            </a:r>
            <a:r>
              <a:rPr lang="ru-RU" sz="1800" i="1" dirty="0"/>
              <a:t>для детей с ОВЗ»</a:t>
            </a:r>
            <a:endParaRPr lang="ru-RU" sz="1800" dirty="0"/>
          </a:p>
        </p:txBody>
      </p:sp>
      <p:sp>
        <p:nvSpPr>
          <p:cNvPr id="23" name="Стрелка вправо 22"/>
          <p:cNvSpPr/>
          <p:nvPr/>
        </p:nvSpPr>
        <p:spPr>
          <a:xfrm>
            <a:off x="2541588" y="2642394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14375" y="3071813"/>
            <a:ext cx="15001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3000375" y="3071813"/>
            <a:ext cx="14287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4689418" y="2661443"/>
            <a:ext cx="257617" cy="17780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71500" y="4786313"/>
            <a:ext cx="157162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786050" y="3714750"/>
            <a:ext cx="1928825" cy="135732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</a:p>
          <a:p>
            <a:pPr algn="ctr">
              <a:defRPr/>
            </a:pP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Согласование графика с расписанием занятий обучающихся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</a:t>
            </a:r>
            <a:r>
              <a:rPr lang="ru-RU" sz="900" dirty="0" smtClean="0">
                <a:solidFill>
                  <a:schemeClr val="tx1"/>
                </a:solidFill>
              </a:rPr>
              <a:t>(60-90 </a:t>
            </a:r>
            <a:r>
              <a:rPr lang="ru-RU" sz="900" dirty="0">
                <a:solidFill>
                  <a:schemeClr val="tx1"/>
                </a:solidFill>
              </a:rPr>
              <a:t>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7025468" y="2642394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857500" y="4714875"/>
            <a:ext cx="18573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2355842" y="3500438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6</a:t>
            </a:r>
            <a:endParaRPr lang="ru-RU" sz="900" b="1" dirty="0"/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5095068" y="2287588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21" name="TextBox 66"/>
          <p:cNvSpPr txBox="1">
            <a:spLocks noChangeArrowheads="1"/>
          </p:cNvSpPr>
          <p:nvPr/>
        </p:nvSpPr>
        <p:spPr bwMode="auto">
          <a:xfrm>
            <a:off x="3283450" y="5515190"/>
            <a:ext cx="6110489" cy="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 в учебном расписани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болевание детей</a:t>
            </a:r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571500" y="4000500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714375" y="2286000"/>
            <a:ext cx="15113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000375" y="228600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5109764" y="2973343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2857500" y="4000500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464359" y="2135547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  <a:endParaRPr lang="ru-RU" b="1" dirty="0"/>
          </a:p>
        </p:txBody>
      </p:sp>
      <p:sp>
        <p:nvSpPr>
          <p:cNvPr id="82" name="Прямоугольник 81"/>
          <p:cNvSpPr/>
          <p:nvPr/>
        </p:nvSpPr>
        <p:spPr>
          <a:xfrm>
            <a:off x="7135798" y="3714752"/>
            <a:ext cx="222264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  <a:endParaRPr lang="ru-RU" b="1" dirty="0"/>
          </a:p>
        </p:txBody>
      </p:sp>
      <p:sp>
        <p:nvSpPr>
          <p:cNvPr id="120" name="Пятно 1 119"/>
          <p:cNvSpPr/>
          <p:nvPr/>
        </p:nvSpPr>
        <p:spPr>
          <a:xfrm>
            <a:off x="4021187" y="5518197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3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66" name="Стрелка вправо 65"/>
          <p:cNvSpPr/>
          <p:nvPr/>
        </p:nvSpPr>
        <p:spPr>
          <a:xfrm>
            <a:off x="285749" y="4286250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2" name="Picture 2" descr="D:\Сайт\Эмблема\3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155" y="35490"/>
            <a:ext cx="801222" cy="801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Прямоугольник 52"/>
          <p:cNvSpPr/>
          <p:nvPr/>
        </p:nvSpPr>
        <p:spPr>
          <a:xfrm>
            <a:off x="7297314" y="2105818"/>
            <a:ext cx="1667174" cy="1323182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 smtClean="0">
                <a:cs typeface="Times New Roman" panose="02020603050405020304" pitchFamily="18" charset="0"/>
              </a:rPr>
              <a:t>Сбор направлений на массаж</a:t>
            </a:r>
            <a:endParaRPr lang="ru-RU" sz="1050" dirty="0"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60-190 мин</a:t>
            </a:r>
            <a:r>
              <a:rPr lang="ru-RU" sz="900" dirty="0">
                <a:solidFill>
                  <a:schemeClr val="tx1"/>
                </a:solidFill>
              </a:rPr>
              <a:t>.)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025468" y="1824831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314393" y="2289176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5096643" y="3750462"/>
            <a:ext cx="1928825" cy="1357324"/>
          </a:xfrm>
          <a:prstGeom prst="rect">
            <a:avLst/>
          </a:prstGeom>
          <a:solidFill>
            <a:srgbClr val="AFF7FF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Заместитель директора</a:t>
            </a:r>
          </a:p>
          <a:p>
            <a:pPr algn="ctr">
              <a:defRPr/>
            </a:pPr>
            <a:endParaRPr lang="ru-RU" sz="11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Предоставление массажа</a:t>
            </a:r>
            <a:endParaRPr lang="ru-RU" sz="10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10-15  мин.) 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61" name="Стрелка вправо 60"/>
          <p:cNvSpPr/>
          <p:nvPr/>
        </p:nvSpPr>
        <p:spPr>
          <a:xfrm>
            <a:off x="2327305" y="4331493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" name="Стрелка вправо 61"/>
          <p:cNvSpPr/>
          <p:nvPr/>
        </p:nvSpPr>
        <p:spPr>
          <a:xfrm>
            <a:off x="4750579" y="4321905"/>
            <a:ext cx="214283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6" name="Пятно 1 55"/>
          <p:cNvSpPr/>
          <p:nvPr/>
        </p:nvSpPr>
        <p:spPr>
          <a:xfrm>
            <a:off x="6702700" y="3376944"/>
            <a:ext cx="428625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4913697" y="3423310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7</a:t>
            </a:r>
            <a:endParaRPr lang="ru-RU" sz="900" b="1" dirty="0"/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5122716" y="3970929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5095068" y="4786313"/>
            <a:ext cx="18573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7314393" y="2974931"/>
            <a:ext cx="1650095" cy="78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ятно 1 69"/>
          <p:cNvSpPr/>
          <p:nvPr/>
        </p:nvSpPr>
        <p:spPr>
          <a:xfrm>
            <a:off x="4021187" y="5910700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</a:rPr>
              <a:t>5</a:t>
            </a:r>
            <a:endParaRPr lang="ru-RU" sz="800" b="1" dirty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8755" y="5631434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  <p:sp>
        <p:nvSpPr>
          <p:cNvPr id="76" name="Пятно 1 75"/>
          <p:cNvSpPr/>
          <p:nvPr/>
        </p:nvSpPr>
        <p:spPr>
          <a:xfrm>
            <a:off x="6480029" y="4504626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8755" y="6196450"/>
            <a:ext cx="1967213" cy="369332"/>
          </a:xfrm>
          <a:prstGeom prst="rect">
            <a:avLst/>
          </a:prstGeom>
          <a:solidFill>
            <a:srgbClr val="AFF7FF"/>
          </a:solidFill>
          <a:ln>
            <a:solidFill>
              <a:srgbClr val="00284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  <p:sp>
        <p:nvSpPr>
          <p:cNvPr id="78" name="TextBox 77"/>
          <p:cNvSpPr txBox="1"/>
          <p:nvPr/>
        </p:nvSpPr>
        <p:spPr>
          <a:xfrm>
            <a:off x="-1217113" y="5203935"/>
            <a:ext cx="4500563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 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853-1217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073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726317"/>
              </p:ext>
            </p:extLst>
          </p:nvPr>
        </p:nvGraphicFramePr>
        <p:xfrm>
          <a:off x="285720" y="1142982"/>
          <a:ext cx="8501122" cy="533059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32780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marL="342900" indent="-342900" algn="ctr">
                        <a:lnSpc>
                          <a:spcPct val="150000"/>
                        </a:lnSpc>
                      </a:pP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ноуровневое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ие (дошкольное, начальное общее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ставить график   осуществления массажа на первую и вторую половину дня</a:t>
                      </a:r>
                      <a:endParaRPr lang="ru-RU" sz="11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12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сть процесса уточнения данных за счет удаленности поликлиники</a:t>
                      </a:r>
                    </a:p>
                    <a:p>
                      <a:pPr lvl="0" algn="ctr"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lvl="0" algn="ctr"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Заполнение форм по образцам на сайте поликлинике в удобное время и направление заполненных форм на электронный адрес поликлиник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9" name="Рисунок 8"/>
          <p:cNvPicPr/>
          <p:nvPr/>
        </p:nvPicPr>
        <p:blipFill rotWithShape="1">
          <a:blip r:embed="rId6" cstate="print"/>
          <a:srcRect t="20510"/>
          <a:stretch/>
        </p:blipFill>
        <p:spPr bwMode="auto">
          <a:xfrm>
            <a:off x="6012160" y="4293096"/>
            <a:ext cx="2592288" cy="203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5" name="Picture 21" descr="D:\Инфо\33 школа сад\Булатова К.К\Лин-проекты\фото ЛИН-ПРОЕКТОВ\IMG-20210125-WA0025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88"/>
          <a:stretch/>
        </p:blipFill>
        <p:spPr bwMode="auto">
          <a:xfrm>
            <a:off x="1619672" y="2159018"/>
            <a:ext cx="2277021" cy="1240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D:\Инфо\33 школа сад\Булатова К.К\Лин-проекты\фото ЛИН-ПРОЕКТОВ\IMG-20210125-WA0026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4395844"/>
            <a:ext cx="2360712" cy="177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D:\Инфо\33 школа сад\Булатова К.К\Лин-проекты\фото ЛИН-ПРОЕКТОВ\IMG-20210125-WA0034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1742560"/>
            <a:ext cx="1584176" cy="2112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0921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992353"/>
              </p:ext>
            </p:extLst>
          </p:nvPr>
        </p:nvGraphicFramePr>
        <p:xfrm>
          <a:off x="251520" y="1556792"/>
          <a:ext cx="8501122" cy="3000398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32780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6" charset="0"/>
                          <a:cs typeface="Times New Roman" pitchFamily="16" charset="0"/>
                        </a:rPr>
                        <a:t>Отсутствие педиатра на рабочем месте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нформирование через мессенджеры</a:t>
                      </a: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3" name="Picture 5" descr="D:\Инфо\33 школа сад\Булатова К.К\Лин-проекты\фото ЛИН-ПРОЕКТОВ\IMG-20210125-WA003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331"/>
          <a:stretch/>
        </p:blipFill>
        <p:spPr bwMode="auto">
          <a:xfrm>
            <a:off x="1782409" y="2276872"/>
            <a:ext cx="1882896" cy="169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:\Инфо\33 школа сад\Булатова К.К\Лин-проекты\фото ЛИН-ПРОЕКТОВ\IMG-20210125-WA003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2276872"/>
            <a:ext cx="1584176" cy="211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65172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06</TotalTime>
  <Words>700</Words>
  <Application>Microsoft Office PowerPoint</Application>
  <PresentationFormat>Экран (4:3)</PresentationFormat>
  <Paragraphs>238</Paragraphs>
  <Slides>11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Оформление по умолчанию</vt:lpstr>
      <vt:lpstr>think-cell Slide</vt:lpstr>
      <vt:lpstr>«Оптимизация процесса предоставления массажа  для детей с ОВЗ» </vt:lpstr>
      <vt:lpstr>Команда проекта</vt:lpstr>
      <vt:lpstr>Паспорт проекта  </vt:lpstr>
      <vt:lpstr>Карта текущего состояния процесса «Оптимизация процесса предоставления   массажа для детей с ОВЗ»</vt:lpstr>
      <vt:lpstr>Пирамида проблем</vt:lpstr>
      <vt:lpstr>Анализ проблем процесса  </vt:lpstr>
      <vt:lpstr>Карта целевого состояния процесса «Оптимизация процесса предоставления   массажа для детей с ОВЗ»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иглашаем  к сотрудничеству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рам Аракелян</dc:creator>
  <cp:lastModifiedBy>1</cp:lastModifiedBy>
  <cp:revision>722</cp:revision>
  <cp:lastPrinted>2022-05-06T07:18:56Z</cp:lastPrinted>
  <dcterms:created xsi:type="dcterms:W3CDTF">2007-01-29T08:57:19Z</dcterms:created>
  <dcterms:modified xsi:type="dcterms:W3CDTF">2022-05-06T08:06:52Z</dcterms:modified>
</cp:coreProperties>
</file>